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7"/>
  </p:notesMasterIdLst>
  <p:handoutMasterIdLst>
    <p:handoutMasterId r:id="rId8"/>
  </p:handoutMasterIdLst>
  <p:sldIdLst>
    <p:sldId id="280" r:id="rId2"/>
    <p:sldId id="281" r:id="rId3"/>
    <p:sldId id="282" r:id="rId4"/>
    <p:sldId id="283" r:id="rId5"/>
    <p:sldId id="284" r:id="rId6"/>
  </p:sldIdLst>
  <p:sldSz cx="9906000" cy="6858000" type="A4"/>
  <p:notesSz cx="6724650" cy="97742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227AF14D-290A-4DFF-9F7A-E145126C0B85}">
          <p14:sldIdLst>
            <p14:sldId id="280"/>
            <p14:sldId id="281"/>
            <p14:sldId id="282"/>
            <p14:sldId id="283"/>
            <p14:sldId id="284"/>
          </p14:sldIdLst>
        </p14:section>
        <p14:section name="Seção sem Título" id="{23D2FC90-CE5D-41F1-BF57-F7E2CE7E7F4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3859"/>
    <a:srgbClr val="2D5596"/>
    <a:srgbClr val="4A88D9"/>
    <a:srgbClr val="EF1A21"/>
    <a:srgbClr val="ED1B24"/>
    <a:srgbClr val="EFEFEF"/>
    <a:srgbClr val="4C4C4C"/>
    <a:srgbClr val="0C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2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4"/>
    </p:cViewPr>
  </p:sorterViewPr>
  <p:notesViewPr>
    <p:cSldViewPr snapToGrid="0">
      <p:cViewPr varScale="1">
        <p:scale>
          <a:sx n="81" d="100"/>
          <a:sy n="81" d="100"/>
        </p:scale>
        <p:origin x="401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9809089C-F1CB-27F8-D8CD-B32E983EB3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CBDF6C3-172E-DAA3-742C-46EF119594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1DC814-4EF8-4CFA-85E1-747722653CA6}" type="datetimeFigureOut">
              <a:rPr lang="pt-BR" smtClean="0"/>
              <a:t>01/10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7730A1B-6162-2A4B-78A8-98CFA3F403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10CEFC1-D143-503B-0B80-0CFA58ED50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674E9F-EB3A-4C04-A56C-7459066518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1632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A3D5BB-C216-4D88-AD3D-0359EF2C46CC}" type="datetimeFigureOut">
              <a:rPr lang="pt-BR" smtClean="0"/>
              <a:t>01/10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22375"/>
            <a:ext cx="476567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3100" y="4703763"/>
            <a:ext cx="5378450" cy="3848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9A79C0-FCD7-4901-B6AB-E78CEC64399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8295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>
            <a:extLst>
              <a:ext uri="{FF2B5EF4-FFF2-40B4-BE49-F238E27FC236}">
                <a16:creationId xmlns:a16="http://schemas.microsoft.com/office/drawing/2014/main" id="{253B50AE-42E8-5B24-FA97-E65510C4AF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144"/>
          <a:stretch/>
        </p:blipFill>
        <p:spPr>
          <a:xfrm>
            <a:off x="0" y="1"/>
            <a:ext cx="9906000" cy="1459683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1531955" y="2832971"/>
            <a:ext cx="7396462" cy="1035823"/>
          </a:xfrm>
        </p:spPr>
        <p:txBody>
          <a:bodyPr vert="horz" lIns="91440" tIns="0" rIns="91440" bIns="0" rtlCol="0" anchor="t" anchorCtr="0">
            <a:noAutofit/>
          </a:bodyPr>
          <a:lstStyle>
            <a:lvl1pPr>
              <a:defRPr lang="es-ES" sz="2400" b="1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pPr marL="0" lvl="0"/>
            <a:r>
              <a:rPr lang="en-US" noProof="0" dirty="0"/>
              <a:t>TÍTULO</a:t>
            </a:r>
          </a:p>
        </p:txBody>
      </p:sp>
      <p:sp>
        <p:nvSpPr>
          <p:cNvPr id="10" name="79 Rectángulo"/>
          <p:cNvSpPr/>
          <p:nvPr/>
        </p:nvSpPr>
        <p:spPr>
          <a:xfrm>
            <a:off x="0" y="6229368"/>
            <a:ext cx="9906000" cy="5870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C0D4C7CA-4D50-8DE6-C7F2-6C07DB120066}"/>
              </a:ext>
            </a:extLst>
          </p:cNvPr>
          <p:cNvSpPr txBox="1">
            <a:spLocks/>
          </p:cNvSpPr>
          <p:nvPr userDrawn="1"/>
        </p:nvSpPr>
        <p:spPr>
          <a:xfrm>
            <a:off x="1531955" y="4028075"/>
            <a:ext cx="7396462" cy="1035823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s-ES" sz="2400" b="1" kern="1200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r>
              <a:rPr lang="en-US" sz="1600" dirty="0"/>
              <a:t>AUTORE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AD17D11A-EF08-109C-3784-74BEED93D7A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29" b="6626"/>
          <a:stretch/>
        </p:blipFill>
        <p:spPr>
          <a:xfrm>
            <a:off x="-226503" y="26987"/>
            <a:ext cx="4291388" cy="2223249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6C94203F-B98B-7F3B-0FD4-65AF15C3B73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9285" y="6262924"/>
            <a:ext cx="839273" cy="53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84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79 Rectángulo"/>
          <p:cNvSpPr/>
          <p:nvPr/>
        </p:nvSpPr>
        <p:spPr>
          <a:xfrm>
            <a:off x="0" y="0"/>
            <a:ext cx="9906000" cy="6200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</a:rPr>
              <a:t> </a:t>
            </a: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5D59CEA-DF54-77F9-0D1B-8EC12331BB0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07" y="6137537"/>
            <a:ext cx="1305633" cy="78338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13E1A7AF-4F92-E06E-7A68-A8C1C84A931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9285" y="6262924"/>
            <a:ext cx="839273" cy="53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5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444139" y="278104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Subtítulo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14F651E-3236-6B41-6BC0-47C5DA85C424}"/>
              </a:ext>
            </a:extLst>
          </p:cNvPr>
          <p:cNvSpPr/>
          <p:nvPr userDrawn="1"/>
        </p:nvSpPr>
        <p:spPr>
          <a:xfrm>
            <a:off x="4572000" y="0"/>
            <a:ext cx="5334000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cap="all" baseline="0" dirty="0" err="1">
                <a:solidFill>
                  <a:schemeClr val="accent5"/>
                </a:solidFill>
              </a:rPr>
              <a:t>imagem</a:t>
            </a:r>
            <a:endParaRPr lang="en-US" sz="4000" cap="all" baseline="0" dirty="0">
              <a:solidFill>
                <a:schemeClr val="accent5"/>
              </a:solidFill>
            </a:endParaRPr>
          </a:p>
        </p:txBody>
      </p:sp>
      <p:sp>
        <p:nvSpPr>
          <p:cNvPr id="6" name="79 Rectángulo">
            <a:extLst>
              <a:ext uri="{FF2B5EF4-FFF2-40B4-BE49-F238E27FC236}">
                <a16:creationId xmlns:a16="http://schemas.microsoft.com/office/drawing/2014/main" id="{C91C19DE-A1C5-1930-8F51-3D651307569C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D65EC2F-F057-855A-FD25-F00CCC83773A}"/>
              </a:ext>
            </a:extLst>
          </p:cNvPr>
          <p:cNvSpPr txBox="1"/>
          <p:nvPr userDrawn="1"/>
        </p:nvSpPr>
        <p:spPr>
          <a:xfrm>
            <a:off x="3957430" y="6673065"/>
            <a:ext cx="1457450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38° ANPET - </a:t>
            </a:r>
            <a:r>
              <a:rPr lang="en-US" sz="900" dirty="0" err="1">
                <a:solidFill>
                  <a:schemeClr val="bg1"/>
                </a:solidFill>
              </a:rPr>
              <a:t>Florianópolis</a:t>
            </a:r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19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9" y="1140223"/>
            <a:ext cx="9325870" cy="1877437"/>
          </a:xfrm>
        </p:spPr>
        <p:txBody>
          <a:bodyPr wrap="square">
            <a:spAutoFit/>
          </a:bodyPr>
          <a:lstStyle>
            <a:lvl1pPr marL="179388" indent="-179388">
              <a:spcBef>
                <a:spcPts val="1200"/>
              </a:spcBef>
              <a:buClr>
                <a:schemeClr val="tx1"/>
              </a:buClr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>
              <a:spcBef>
                <a:spcPts val="600"/>
              </a:spcBef>
              <a:buClr>
                <a:schemeClr val="tx1"/>
              </a:buClr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>
              <a:spcBef>
                <a:spcPts val="600"/>
              </a:spcBef>
              <a:buClr>
                <a:schemeClr val="tx1"/>
              </a:buClr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9388" lvl="0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ext</a:t>
            </a:r>
          </a:p>
          <a:p>
            <a:pPr marL="179388" lvl="1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Second level</a:t>
            </a:r>
          </a:p>
          <a:p>
            <a:pPr marL="179388" lvl="2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hird level</a:t>
            </a:r>
          </a:p>
          <a:p>
            <a:pPr marL="179388" lvl="3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ourth level</a:t>
            </a:r>
          </a:p>
          <a:p>
            <a:pPr marL="179388" lvl="4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ifth level</a:t>
            </a:r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id="{5BBCC1F1-C641-85D2-5366-85D1E104F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6" name="12 Marcador de texto">
            <a:extLst>
              <a:ext uri="{FF2B5EF4-FFF2-40B4-BE49-F238E27FC236}">
                <a16:creationId xmlns:a16="http://schemas.microsoft.com/office/drawing/2014/main" id="{D7A90F70-3246-A12C-7192-F2E9918F60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46771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8" y="1140224"/>
            <a:ext cx="4437377" cy="1646605"/>
          </a:xfrm>
        </p:spPr>
        <p:txBody>
          <a:bodyPr>
            <a:spAutoFit/>
          </a:bodyPr>
          <a:lstStyle>
            <a:lvl1pPr marL="179388" indent="-179388" algn="l">
              <a:spcBef>
                <a:spcPts val="1200"/>
              </a:spcBef>
              <a:defRPr/>
            </a:lvl1pPr>
            <a:lvl2pPr marL="444500" indent="-179388" algn="l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/>
            </a:lvl2pPr>
            <a:lvl3pPr marL="717550" indent="-179388" algn="l">
              <a:spcBef>
                <a:spcPts val="600"/>
              </a:spcBef>
              <a:buClr>
                <a:schemeClr val="tx1"/>
              </a:buClr>
              <a:defRPr sz="1400"/>
            </a:lvl3pPr>
            <a:lvl4pPr marL="982663" indent="-179388" algn="l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sz="1400"/>
            </a:lvl4pPr>
            <a:lvl5pPr algn="l">
              <a:spcBef>
                <a:spcPts val="600"/>
              </a:spcBef>
              <a:buClr>
                <a:schemeClr val="tx1"/>
              </a:buClr>
              <a:defRPr sz="1400"/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12 Marcador de texto">
            <a:extLst>
              <a:ext uri="{FF2B5EF4-FFF2-40B4-BE49-F238E27FC236}">
                <a16:creationId xmlns:a16="http://schemas.microsoft.com/office/drawing/2014/main" id="{21B3FA17-321F-F195-C7D2-D8B0D7377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4705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:a16="http://schemas.microsoft.com/office/drawing/2014/main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973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277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79 Rectángulo">
            <a:extLst>
              <a:ext uri="{FF2B5EF4-FFF2-40B4-BE49-F238E27FC236}">
                <a16:creationId xmlns:a16="http://schemas.microsoft.com/office/drawing/2014/main" id="{AADF2ABD-0280-5E71-E609-722330148BF8}"/>
              </a:ext>
            </a:extLst>
          </p:cNvPr>
          <p:cNvSpPr/>
          <p:nvPr userDrawn="1"/>
        </p:nvSpPr>
        <p:spPr>
          <a:xfrm>
            <a:off x="0" y="6229368"/>
            <a:ext cx="9906000" cy="5870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56235EE-48D6-8401-A4C3-88D0E139842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608" r="9048"/>
          <a:stretch/>
        </p:blipFill>
        <p:spPr>
          <a:xfrm>
            <a:off x="0" y="0"/>
            <a:ext cx="9906000" cy="1772396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DEC559DC-943F-B052-8B53-25A1AF0D859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07" y="6137537"/>
            <a:ext cx="1305633" cy="78338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E6981BE8-76A9-9E0C-B86F-5ED77EA211A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9285" y="6262924"/>
            <a:ext cx="839273" cy="53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5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272480" y="402828"/>
            <a:ext cx="9361040" cy="63341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/>
          <a:p>
            <a:r>
              <a:rPr lang="en-US" noProof="0"/>
              <a:t>Click to modify title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7648" y="1140570"/>
            <a:ext cx="9334417" cy="164660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noProof="0" dirty="0"/>
              <a:t>Click to modify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79 Rectángulo">
            <a:extLst>
              <a:ext uri="{FF2B5EF4-FFF2-40B4-BE49-F238E27FC236}">
                <a16:creationId xmlns:a16="http://schemas.microsoft.com/office/drawing/2014/main" id="{CB3F5060-1486-0B6C-BD80-05E6547F58F3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7" name="2 Marcador de número de diapositiva"/>
          <p:cNvSpPr txBox="1">
            <a:spLocks/>
          </p:cNvSpPr>
          <p:nvPr/>
        </p:nvSpPr>
        <p:spPr>
          <a:xfrm>
            <a:off x="9598025" y="29130"/>
            <a:ext cx="288000" cy="223488"/>
          </a:xfrm>
          <a:prstGeom prst="rect">
            <a:avLst/>
          </a:prstGeom>
          <a:noFill/>
        </p:spPr>
        <p:txBody>
          <a:bodyPr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s-ES" sz="1000" b="0" i="0" u="none" strike="noStrike" kern="1200" cap="none" spc="0" normalizeH="0" baseline="0" noProof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00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9264D89E-257D-5F16-256D-EC35E53D1984}"/>
              </a:ext>
            </a:extLst>
          </p:cNvPr>
          <p:cNvSpPr txBox="1"/>
          <p:nvPr userDrawn="1"/>
        </p:nvSpPr>
        <p:spPr>
          <a:xfrm>
            <a:off x="3957430" y="6673065"/>
            <a:ext cx="1457450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38° ANPET - </a:t>
            </a:r>
            <a:r>
              <a:rPr lang="en-US" sz="900" dirty="0" err="1">
                <a:solidFill>
                  <a:schemeClr val="bg1"/>
                </a:solidFill>
              </a:rPr>
              <a:t>Florianópolis</a:t>
            </a:r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0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1" r:id="rId3"/>
    <p:sldLayoutId id="2147483681" r:id="rId4"/>
    <p:sldLayoutId id="2147483682" r:id="rId5"/>
    <p:sldLayoutId id="2147483683" r:id="rId6"/>
    <p:sldLayoutId id="2147483685" r:id="rId7"/>
    <p:sldLayoutId id="214748369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Nirmala UI" panose="020B0502040204020203" pitchFamily="34" charset="0"/>
          <a:ea typeface="Nirmala UI" panose="020B0502040204020203" pitchFamily="34" charset="0"/>
          <a:cs typeface="Nirmala UI" panose="020B0502040204020203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8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1pPr>
      <a:lvl2pPr marL="444500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tabLst/>
        <a:defRPr lang="es-ES" sz="16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2pPr>
      <a:lvl3pPr marL="717550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3pPr>
      <a:lvl4pPr marL="1076325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4pPr>
      <a:lvl5pPr marL="1341438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dirty="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7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411">
          <p15:clr>
            <a:srgbClr val="F26B43"/>
          </p15:clr>
        </p15:guide>
        <p15:guide id="6" orient="horz" pos="2319">
          <p15:clr>
            <a:srgbClr val="F26B43"/>
          </p15:clr>
        </p15:guide>
        <p15:guide id="7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B920E-554B-71B5-BA7F-03FF51760B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1955" y="2621304"/>
            <a:ext cx="7396462" cy="1035823"/>
          </a:xfrm>
        </p:spPr>
        <p:txBody>
          <a:bodyPr/>
          <a:lstStyle/>
          <a:p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7541635-F274-65DB-388B-67DF8C33FA17}"/>
              </a:ext>
            </a:extLst>
          </p:cNvPr>
          <p:cNvSpPr txBox="1"/>
          <p:nvPr/>
        </p:nvSpPr>
        <p:spPr>
          <a:xfrm>
            <a:off x="1531955" y="4307285"/>
            <a:ext cx="1514197" cy="275076"/>
          </a:xfrm>
          <a:prstGeom prst="rect">
            <a:avLst/>
          </a:prstGeom>
        </p:spPr>
        <p:txBody>
          <a:bodyPr vert="horz" wrap="none" lIns="74295" tIns="37148" rIns="74295" bIns="37148" rtlCol="0">
            <a:spAutoFit/>
          </a:bodyPr>
          <a:lstStyle/>
          <a:p>
            <a:pPr algn="ctr" defTabSz="742950"/>
            <a:r>
              <a:rPr lang="en-US" sz="1300" b="1" dirty="0" err="1">
                <a:solidFill>
                  <a:prstClr val="black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Instituição</a:t>
            </a:r>
            <a:r>
              <a:rPr lang="en-US" sz="1300" b="1" dirty="0">
                <a:solidFill>
                  <a:prstClr val="black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e logo</a:t>
            </a:r>
          </a:p>
        </p:txBody>
      </p:sp>
    </p:spTree>
    <p:extLst>
      <p:ext uri="{BB962C8B-B14F-4D97-AF65-F5344CB8AC3E}">
        <p14:creationId xmlns:p14="http://schemas.microsoft.com/office/powerpoint/2010/main" val="192849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3BCAF4-7CC4-A46F-CB9F-91AD1DF3A6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7757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C466BE-655F-37D7-CFA9-B50A7BA33F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6994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A5FA3C5-72FF-F2BD-CC3C-C88D834C4A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90C6D52-99F5-433D-C3F0-F8C7101D1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148FA2E-623C-8CD6-84F2-DC5CF7F2ED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335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71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traer_2022">
  <a:themeElements>
    <a:clrScheme name="Violeta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Sitraer2022_Font">
      <a:majorFont>
        <a:latin typeface="Nirmala UI"/>
        <a:ea typeface=""/>
        <a:cs typeface=""/>
      </a:majorFont>
      <a:minorFont>
        <a:latin typeface="Nirmala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47625">
          <a:solidFill>
            <a:schemeClr val="accent1"/>
          </a:solidFill>
          <a:miter lim="800000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rnd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vert="horz" wrap="square" lIns="91440" tIns="45720" rIns="91440" bIns="4572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G2021_theme" id="{42BD566E-8192-4CBA-801F-736BF5761F70}" vid="{309C6E05-5CA8-48AE-8329-FA4B825B0782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9</TotalTime>
  <Words>3</Words>
  <Application>Microsoft Office PowerPoint</Application>
  <PresentationFormat>Papel A4 (210 x 297 mm)</PresentationFormat>
  <Paragraphs>1</Paragraphs>
  <Slides>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3" baseType="lpstr">
      <vt:lpstr>Arial</vt:lpstr>
      <vt:lpstr>Calibri</vt:lpstr>
      <vt:lpstr>Neo Sans Std</vt:lpstr>
      <vt:lpstr>Nirmala UI</vt:lpstr>
      <vt:lpstr>Nirmala UI Semilight</vt:lpstr>
      <vt:lpstr>Wingdings</vt:lpstr>
      <vt:lpstr>Sitraer_2022</vt:lpstr>
      <vt:lpstr>Diapositiva de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ntos, Luca J.</dc:creator>
  <cp:lastModifiedBy>Renata Cavion</cp:lastModifiedBy>
  <cp:revision>51</cp:revision>
  <dcterms:created xsi:type="dcterms:W3CDTF">2022-03-24T14:42:30Z</dcterms:created>
  <dcterms:modified xsi:type="dcterms:W3CDTF">2024-10-01T15:11:08Z</dcterms:modified>
</cp:coreProperties>
</file>